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7"/>
  </p:notesMasterIdLst>
  <p:sldIdLst>
    <p:sldId id="262" r:id="rId2"/>
    <p:sldId id="259" r:id="rId3"/>
    <p:sldId id="258" r:id="rId4"/>
    <p:sldId id="260" r:id="rId5"/>
    <p:sldId id="261" r:id="rId6"/>
  </p:sldIdLst>
  <p:sldSz cx="20104100" cy="1130935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562" userDrawn="1">
          <p15:clr>
            <a:srgbClr val="A4A3A4"/>
          </p15:clr>
        </p15:guide>
        <p15:guide id="2" pos="3157" userDrawn="1">
          <p15:clr>
            <a:srgbClr val="A4A3A4"/>
          </p15:clr>
        </p15:guide>
        <p15:guide id="3" pos="6332" userDrawn="1">
          <p15:clr>
            <a:srgbClr val="A4A3A4"/>
          </p15:clr>
        </p15:guide>
        <p15:guide id="7" pos="9507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C50FF"/>
    <a:srgbClr val="0048C6"/>
    <a:srgbClr val="F0E8E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559" autoAdjust="0"/>
    <p:restoredTop sz="94660"/>
  </p:normalViewPr>
  <p:slideViewPr>
    <p:cSldViewPr snapToGrid="0" showGuides="1">
      <p:cViewPr varScale="1">
        <p:scale>
          <a:sx n="71" d="100"/>
          <a:sy n="71" d="100"/>
        </p:scale>
        <p:origin x="774" y="60"/>
      </p:cViewPr>
      <p:guideLst>
        <p:guide orient="horz" pos="3562"/>
        <p:guide pos="3157"/>
        <p:guide pos="6332"/>
        <p:guide pos="9507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D45200D-C028-40AE-A4AC-B77A254100A2}" type="datetimeFigureOut">
              <a:rPr lang="ru-RU" smtClean="0"/>
              <a:t>19.05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E8A0B73-C566-4F13-B8BF-E879054F34F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550658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AFF4DA-7D93-4400-B2E7-000244240C03}" type="slidenum">
              <a:rPr lang="en-ID" smtClean="0"/>
              <a:pPr/>
              <a:t>2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6084917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AFF4DA-7D93-4400-B2E7-000244240C03}" type="slidenum">
              <a:rPr lang="en-ID" smtClean="0"/>
              <a:pPr/>
              <a:t>3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9906537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AFF4DA-7D93-4400-B2E7-000244240C03}" type="slidenum">
              <a:rPr lang="en-ID" smtClean="0"/>
              <a:pPr/>
              <a:t>4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8016545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AFF4DA-7D93-4400-B2E7-000244240C03}" type="slidenum">
              <a:rPr lang="en-ID" smtClean="0"/>
              <a:pPr/>
              <a:t>5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1525247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13013" y="1850860"/>
            <a:ext cx="15078075" cy="3937329"/>
          </a:xfrm>
        </p:spPr>
        <p:txBody>
          <a:bodyPr anchor="b"/>
          <a:lstStyle>
            <a:lvl1pPr algn="ctr">
              <a:defRPr sz="9894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13013" y="5940028"/>
            <a:ext cx="15078075" cy="2730474"/>
          </a:xfrm>
        </p:spPr>
        <p:txBody>
          <a:bodyPr/>
          <a:lstStyle>
            <a:lvl1pPr marL="0" indent="0" algn="ctr">
              <a:buNone/>
              <a:defRPr sz="3958"/>
            </a:lvl1pPr>
            <a:lvl2pPr marL="753923" indent="0" algn="ctr">
              <a:buNone/>
              <a:defRPr sz="3298"/>
            </a:lvl2pPr>
            <a:lvl3pPr marL="1507846" indent="0" algn="ctr">
              <a:buNone/>
              <a:defRPr sz="2968"/>
            </a:lvl3pPr>
            <a:lvl4pPr marL="2261768" indent="0" algn="ctr">
              <a:buNone/>
              <a:defRPr sz="2638"/>
            </a:lvl4pPr>
            <a:lvl5pPr marL="3015691" indent="0" algn="ctr">
              <a:buNone/>
              <a:defRPr sz="2638"/>
            </a:lvl5pPr>
            <a:lvl6pPr marL="3769614" indent="0" algn="ctr">
              <a:buNone/>
              <a:defRPr sz="2638"/>
            </a:lvl6pPr>
            <a:lvl7pPr marL="4523537" indent="0" algn="ctr">
              <a:buNone/>
              <a:defRPr sz="2638"/>
            </a:lvl7pPr>
            <a:lvl8pPr marL="5277460" indent="0" algn="ctr">
              <a:buNone/>
              <a:defRPr sz="2638"/>
            </a:lvl8pPr>
            <a:lvl9pPr marL="6031382" indent="0" algn="ctr">
              <a:buNone/>
              <a:defRPr sz="2638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6DCD92-27E0-4561-9D26-9E3AD3B4DCCF}" type="datetimeFigureOut">
              <a:rPr lang="ru-RU" smtClean="0"/>
              <a:t>19.05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D1F8AB-5B35-479E-84A5-E5000CDBC20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403109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6DCD92-27E0-4561-9D26-9E3AD3B4DCCF}" type="datetimeFigureOut">
              <a:rPr lang="ru-RU" smtClean="0"/>
              <a:t>19.05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D1F8AB-5B35-479E-84A5-E5000CDBC20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603322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4386996" y="602118"/>
            <a:ext cx="4334947" cy="9584151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382157" y="602118"/>
            <a:ext cx="12753538" cy="9584151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6DCD92-27E0-4561-9D26-9E3AD3B4DCCF}" type="datetimeFigureOut">
              <a:rPr lang="ru-RU" smtClean="0"/>
              <a:t>19.05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D1F8AB-5B35-479E-84A5-E5000CDBC20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027793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6DCD92-27E0-4561-9D26-9E3AD3B4DCCF}" type="datetimeFigureOut">
              <a:rPr lang="ru-RU" smtClean="0"/>
              <a:t>19.05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D1F8AB-5B35-479E-84A5-E5000CDBC20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093669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71686" y="2819485"/>
            <a:ext cx="17339786" cy="4704375"/>
          </a:xfrm>
        </p:spPr>
        <p:txBody>
          <a:bodyPr anchor="b"/>
          <a:lstStyle>
            <a:lvl1pPr>
              <a:defRPr sz="9894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71686" y="7568366"/>
            <a:ext cx="17339786" cy="2473919"/>
          </a:xfrm>
        </p:spPr>
        <p:txBody>
          <a:bodyPr/>
          <a:lstStyle>
            <a:lvl1pPr marL="0" indent="0">
              <a:buNone/>
              <a:defRPr sz="3958">
                <a:solidFill>
                  <a:schemeClr val="tx1">
                    <a:tint val="75000"/>
                  </a:schemeClr>
                </a:solidFill>
              </a:defRPr>
            </a:lvl1pPr>
            <a:lvl2pPr marL="753923" indent="0">
              <a:buNone/>
              <a:defRPr sz="3298">
                <a:solidFill>
                  <a:schemeClr val="tx1">
                    <a:tint val="75000"/>
                  </a:schemeClr>
                </a:solidFill>
              </a:defRPr>
            </a:lvl2pPr>
            <a:lvl3pPr marL="1507846" indent="0">
              <a:buNone/>
              <a:defRPr sz="2968">
                <a:solidFill>
                  <a:schemeClr val="tx1">
                    <a:tint val="75000"/>
                  </a:schemeClr>
                </a:solidFill>
              </a:defRPr>
            </a:lvl3pPr>
            <a:lvl4pPr marL="2261768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4pPr>
            <a:lvl5pPr marL="3015691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5pPr>
            <a:lvl6pPr marL="3769614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6pPr>
            <a:lvl7pPr marL="4523537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7pPr>
            <a:lvl8pPr marL="5277460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8pPr>
            <a:lvl9pPr marL="6031382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6DCD92-27E0-4561-9D26-9E3AD3B4DCCF}" type="datetimeFigureOut">
              <a:rPr lang="ru-RU" smtClean="0"/>
              <a:t>19.05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D1F8AB-5B35-479E-84A5-E5000CDBC20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758267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382157" y="3010591"/>
            <a:ext cx="8544243" cy="717567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177700" y="3010591"/>
            <a:ext cx="8544243" cy="717567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6DCD92-27E0-4561-9D26-9E3AD3B4DCCF}" type="datetimeFigureOut">
              <a:rPr lang="ru-RU" smtClean="0"/>
              <a:t>19.05.2022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D1F8AB-5B35-479E-84A5-E5000CDBC20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3526560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84776" y="602119"/>
            <a:ext cx="17339786" cy="2185952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84776" y="2772362"/>
            <a:ext cx="8504976" cy="1358692"/>
          </a:xfrm>
        </p:spPr>
        <p:txBody>
          <a:bodyPr anchor="b"/>
          <a:lstStyle>
            <a:lvl1pPr marL="0" indent="0">
              <a:buNone/>
              <a:defRPr sz="3958" b="1"/>
            </a:lvl1pPr>
            <a:lvl2pPr marL="753923" indent="0">
              <a:buNone/>
              <a:defRPr sz="3298" b="1"/>
            </a:lvl2pPr>
            <a:lvl3pPr marL="1507846" indent="0">
              <a:buNone/>
              <a:defRPr sz="2968" b="1"/>
            </a:lvl3pPr>
            <a:lvl4pPr marL="2261768" indent="0">
              <a:buNone/>
              <a:defRPr sz="2638" b="1"/>
            </a:lvl4pPr>
            <a:lvl5pPr marL="3015691" indent="0">
              <a:buNone/>
              <a:defRPr sz="2638" b="1"/>
            </a:lvl5pPr>
            <a:lvl6pPr marL="3769614" indent="0">
              <a:buNone/>
              <a:defRPr sz="2638" b="1"/>
            </a:lvl6pPr>
            <a:lvl7pPr marL="4523537" indent="0">
              <a:buNone/>
              <a:defRPr sz="2638" b="1"/>
            </a:lvl7pPr>
            <a:lvl8pPr marL="5277460" indent="0">
              <a:buNone/>
              <a:defRPr sz="2638" b="1"/>
            </a:lvl8pPr>
            <a:lvl9pPr marL="6031382" indent="0">
              <a:buNone/>
              <a:defRPr sz="2638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384776" y="4131054"/>
            <a:ext cx="8504976" cy="607615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10177701" y="2772362"/>
            <a:ext cx="8546861" cy="1358692"/>
          </a:xfrm>
        </p:spPr>
        <p:txBody>
          <a:bodyPr anchor="b"/>
          <a:lstStyle>
            <a:lvl1pPr marL="0" indent="0">
              <a:buNone/>
              <a:defRPr sz="3958" b="1"/>
            </a:lvl1pPr>
            <a:lvl2pPr marL="753923" indent="0">
              <a:buNone/>
              <a:defRPr sz="3298" b="1"/>
            </a:lvl2pPr>
            <a:lvl3pPr marL="1507846" indent="0">
              <a:buNone/>
              <a:defRPr sz="2968" b="1"/>
            </a:lvl3pPr>
            <a:lvl4pPr marL="2261768" indent="0">
              <a:buNone/>
              <a:defRPr sz="2638" b="1"/>
            </a:lvl4pPr>
            <a:lvl5pPr marL="3015691" indent="0">
              <a:buNone/>
              <a:defRPr sz="2638" b="1"/>
            </a:lvl5pPr>
            <a:lvl6pPr marL="3769614" indent="0">
              <a:buNone/>
              <a:defRPr sz="2638" b="1"/>
            </a:lvl6pPr>
            <a:lvl7pPr marL="4523537" indent="0">
              <a:buNone/>
              <a:defRPr sz="2638" b="1"/>
            </a:lvl7pPr>
            <a:lvl8pPr marL="5277460" indent="0">
              <a:buNone/>
              <a:defRPr sz="2638" b="1"/>
            </a:lvl8pPr>
            <a:lvl9pPr marL="6031382" indent="0">
              <a:buNone/>
              <a:defRPr sz="2638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10177701" y="4131054"/>
            <a:ext cx="8546861" cy="607615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6DCD92-27E0-4561-9D26-9E3AD3B4DCCF}" type="datetimeFigureOut">
              <a:rPr lang="ru-RU" smtClean="0"/>
              <a:t>19.05.2022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D1F8AB-5B35-479E-84A5-E5000CDBC20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036570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6DCD92-27E0-4561-9D26-9E3AD3B4DCCF}" type="datetimeFigureOut">
              <a:rPr lang="ru-RU" smtClean="0"/>
              <a:t>19.05.2022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D1F8AB-5B35-479E-84A5-E5000CDBC20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374109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6DCD92-27E0-4561-9D26-9E3AD3B4DCCF}" type="datetimeFigureOut">
              <a:rPr lang="ru-RU" smtClean="0"/>
              <a:t>19.05.2022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D1F8AB-5B35-479E-84A5-E5000CDBC20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4824634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84776" y="753957"/>
            <a:ext cx="6484095" cy="2638848"/>
          </a:xfrm>
        </p:spPr>
        <p:txBody>
          <a:bodyPr anchor="b"/>
          <a:lstStyle>
            <a:lvl1pPr>
              <a:defRPr sz="5277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546861" y="1628338"/>
            <a:ext cx="10177701" cy="8036969"/>
          </a:xfrm>
        </p:spPr>
        <p:txBody>
          <a:bodyPr/>
          <a:lstStyle>
            <a:lvl1pPr>
              <a:defRPr sz="5277"/>
            </a:lvl1pPr>
            <a:lvl2pPr>
              <a:defRPr sz="4617"/>
            </a:lvl2pPr>
            <a:lvl3pPr>
              <a:defRPr sz="3958"/>
            </a:lvl3pPr>
            <a:lvl4pPr>
              <a:defRPr sz="3298"/>
            </a:lvl4pPr>
            <a:lvl5pPr>
              <a:defRPr sz="3298"/>
            </a:lvl5pPr>
            <a:lvl6pPr>
              <a:defRPr sz="3298"/>
            </a:lvl6pPr>
            <a:lvl7pPr>
              <a:defRPr sz="3298"/>
            </a:lvl7pPr>
            <a:lvl8pPr>
              <a:defRPr sz="3298"/>
            </a:lvl8pPr>
            <a:lvl9pPr>
              <a:defRPr sz="3298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384776" y="3392805"/>
            <a:ext cx="6484095" cy="6285591"/>
          </a:xfrm>
        </p:spPr>
        <p:txBody>
          <a:bodyPr/>
          <a:lstStyle>
            <a:lvl1pPr marL="0" indent="0">
              <a:buNone/>
              <a:defRPr sz="2638"/>
            </a:lvl1pPr>
            <a:lvl2pPr marL="753923" indent="0">
              <a:buNone/>
              <a:defRPr sz="2309"/>
            </a:lvl2pPr>
            <a:lvl3pPr marL="1507846" indent="0">
              <a:buNone/>
              <a:defRPr sz="1979"/>
            </a:lvl3pPr>
            <a:lvl4pPr marL="2261768" indent="0">
              <a:buNone/>
              <a:defRPr sz="1649"/>
            </a:lvl4pPr>
            <a:lvl5pPr marL="3015691" indent="0">
              <a:buNone/>
              <a:defRPr sz="1649"/>
            </a:lvl5pPr>
            <a:lvl6pPr marL="3769614" indent="0">
              <a:buNone/>
              <a:defRPr sz="1649"/>
            </a:lvl6pPr>
            <a:lvl7pPr marL="4523537" indent="0">
              <a:buNone/>
              <a:defRPr sz="1649"/>
            </a:lvl7pPr>
            <a:lvl8pPr marL="5277460" indent="0">
              <a:buNone/>
              <a:defRPr sz="1649"/>
            </a:lvl8pPr>
            <a:lvl9pPr marL="6031382" indent="0">
              <a:buNone/>
              <a:defRPr sz="1649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6DCD92-27E0-4561-9D26-9E3AD3B4DCCF}" type="datetimeFigureOut">
              <a:rPr lang="ru-RU" smtClean="0"/>
              <a:t>19.05.2022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D1F8AB-5B35-479E-84A5-E5000CDBC20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227879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84776" y="753957"/>
            <a:ext cx="6484095" cy="2638848"/>
          </a:xfrm>
        </p:spPr>
        <p:txBody>
          <a:bodyPr anchor="b"/>
          <a:lstStyle>
            <a:lvl1pPr>
              <a:defRPr sz="5277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8546861" y="1628338"/>
            <a:ext cx="10177701" cy="8036969"/>
          </a:xfrm>
        </p:spPr>
        <p:txBody>
          <a:bodyPr anchor="t"/>
          <a:lstStyle>
            <a:lvl1pPr marL="0" indent="0">
              <a:buNone/>
              <a:defRPr sz="5277"/>
            </a:lvl1pPr>
            <a:lvl2pPr marL="753923" indent="0">
              <a:buNone/>
              <a:defRPr sz="4617"/>
            </a:lvl2pPr>
            <a:lvl3pPr marL="1507846" indent="0">
              <a:buNone/>
              <a:defRPr sz="3958"/>
            </a:lvl3pPr>
            <a:lvl4pPr marL="2261768" indent="0">
              <a:buNone/>
              <a:defRPr sz="3298"/>
            </a:lvl4pPr>
            <a:lvl5pPr marL="3015691" indent="0">
              <a:buNone/>
              <a:defRPr sz="3298"/>
            </a:lvl5pPr>
            <a:lvl6pPr marL="3769614" indent="0">
              <a:buNone/>
              <a:defRPr sz="3298"/>
            </a:lvl6pPr>
            <a:lvl7pPr marL="4523537" indent="0">
              <a:buNone/>
              <a:defRPr sz="3298"/>
            </a:lvl7pPr>
            <a:lvl8pPr marL="5277460" indent="0">
              <a:buNone/>
              <a:defRPr sz="3298"/>
            </a:lvl8pPr>
            <a:lvl9pPr marL="6031382" indent="0">
              <a:buNone/>
              <a:defRPr sz="3298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384776" y="3392805"/>
            <a:ext cx="6484095" cy="6285591"/>
          </a:xfrm>
        </p:spPr>
        <p:txBody>
          <a:bodyPr/>
          <a:lstStyle>
            <a:lvl1pPr marL="0" indent="0">
              <a:buNone/>
              <a:defRPr sz="2638"/>
            </a:lvl1pPr>
            <a:lvl2pPr marL="753923" indent="0">
              <a:buNone/>
              <a:defRPr sz="2309"/>
            </a:lvl2pPr>
            <a:lvl3pPr marL="1507846" indent="0">
              <a:buNone/>
              <a:defRPr sz="1979"/>
            </a:lvl3pPr>
            <a:lvl4pPr marL="2261768" indent="0">
              <a:buNone/>
              <a:defRPr sz="1649"/>
            </a:lvl4pPr>
            <a:lvl5pPr marL="3015691" indent="0">
              <a:buNone/>
              <a:defRPr sz="1649"/>
            </a:lvl5pPr>
            <a:lvl6pPr marL="3769614" indent="0">
              <a:buNone/>
              <a:defRPr sz="1649"/>
            </a:lvl6pPr>
            <a:lvl7pPr marL="4523537" indent="0">
              <a:buNone/>
              <a:defRPr sz="1649"/>
            </a:lvl7pPr>
            <a:lvl8pPr marL="5277460" indent="0">
              <a:buNone/>
              <a:defRPr sz="1649"/>
            </a:lvl8pPr>
            <a:lvl9pPr marL="6031382" indent="0">
              <a:buNone/>
              <a:defRPr sz="1649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6DCD92-27E0-4561-9D26-9E3AD3B4DCCF}" type="datetimeFigureOut">
              <a:rPr lang="ru-RU" smtClean="0"/>
              <a:t>19.05.2022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D1F8AB-5B35-479E-84A5-E5000CDBC20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714941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382157" y="602119"/>
            <a:ext cx="17339786" cy="218595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82157" y="3010591"/>
            <a:ext cx="17339786" cy="717567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382157" y="10482093"/>
            <a:ext cx="4523423" cy="6021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97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56DCD92-27E0-4561-9D26-9E3AD3B4DCCF}" type="datetimeFigureOut">
              <a:rPr lang="ru-RU" smtClean="0"/>
              <a:t>19.05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659483" y="10482093"/>
            <a:ext cx="6785134" cy="6021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97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4198520" y="10482093"/>
            <a:ext cx="4523423" cy="6021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97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8D1F8AB-5B35-479E-84A5-E5000CDBC20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869710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1507846" rtl="0" eaLnBrk="1" latinLnBrk="0" hangingPunct="1">
        <a:lnSpc>
          <a:spcPct val="90000"/>
        </a:lnSpc>
        <a:spcBef>
          <a:spcPct val="0"/>
        </a:spcBef>
        <a:buNone/>
        <a:defRPr sz="725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76961" indent="-376961" algn="l" defTabSz="1507846" rtl="0" eaLnBrk="1" latinLnBrk="0" hangingPunct="1">
        <a:lnSpc>
          <a:spcPct val="90000"/>
        </a:lnSpc>
        <a:spcBef>
          <a:spcPts val="1649"/>
        </a:spcBef>
        <a:buFont typeface="Arial" panose="020B0604020202020204" pitchFamily="34" charset="0"/>
        <a:buChar char="•"/>
        <a:defRPr sz="4617" kern="1200">
          <a:solidFill>
            <a:schemeClr val="tx1"/>
          </a:solidFill>
          <a:latin typeface="+mn-lt"/>
          <a:ea typeface="+mn-ea"/>
          <a:cs typeface="+mn-cs"/>
        </a:defRPr>
      </a:lvl1pPr>
      <a:lvl2pPr marL="1130884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3958" kern="1200">
          <a:solidFill>
            <a:schemeClr val="tx1"/>
          </a:solidFill>
          <a:latin typeface="+mn-lt"/>
          <a:ea typeface="+mn-ea"/>
          <a:cs typeface="+mn-cs"/>
        </a:defRPr>
      </a:lvl2pPr>
      <a:lvl3pPr marL="1884807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3298" kern="1200">
          <a:solidFill>
            <a:schemeClr val="tx1"/>
          </a:solidFill>
          <a:latin typeface="+mn-lt"/>
          <a:ea typeface="+mn-ea"/>
          <a:cs typeface="+mn-cs"/>
        </a:defRPr>
      </a:lvl3pPr>
      <a:lvl4pPr marL="2638730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4pPr>
      <a:lvl5pPr marL="3392653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5pPr>
      <a:lvl6pPr marL="4146575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6pPr>
      <a:lvl7pPr marL="4900498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7pPr>
      <a:lvl8pPr marL="5654421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8pPr>
      <a:lvl9pPr marL="6408344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1pPr>
      <a:lvl2pPr marL="753923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2pPr>
      <a:lvl3pPr marL="1507846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3pPr>
      <a:lvl4pPr marL="2261768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4pPr>
      <a:lvl5pPr marL="3015691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5pPr>
      <a:lvl6pPr marL="3769614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6pPr>
      <a:lvl7pPr marL="4523537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7pPr>
      <a:lvl8pPr marL="5277460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8pPr>
      <a:lvl9pPr marL="6031382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618" y="3015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Слайд think-cell" r:id="rId4" imgW="344" imgH="344" progId="TCLayout.ActiveDocument.1">
                  <p:embed/>
                </p:oleObj>
              </mc:Choice>
              <mc:Fallback>
                <p:oleObj name="Слайд think-cell" r:id="rId4" imgW="344" imgH="344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618" y="3015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object 2"/>
          <p:cNvSpPr/>
          <p:nvPr/>
        </p:nvSpPr>
        <p:spPr>
          <a:xfrm>
            <a:off x="733408" y="3879860"/>
            <a:ext cx="18757701" cy="3549630"/>
          </a:xfrm>
          <a:custGeom>
            <a:avLst/>
            <a:gdLst/>
            <a:ahLst/>
            <a:cxnLst/>
            <a:rect l="l" t="t" r="r" b="b"/>
            <a:pathLst>
              <a:path w="9450070" h="2097404">
                <a:moveTo>
                  <a:pt x="8400897" y="0"/>
                </a:moveTo>
                <a:lnTo>
                  <a:pt x="1048575" y="0"/>
                </a:lnTo>
                <a:lnTo>
                  <a:pt x="1000766" y="1084"/>
                </a:lnTo>
                <a:lnTo>
                  <a:pt x="953489" y="4306"/>
                </a:lnTo>
                <a:lnTo>
                  <a:pt x="906792" y="9617"/>
                </a:lnTo>
                <a:lnTo>
                  <a:pt x="860722" y="16972"/>
                </a:lnTo>
                <a:lnTo>
                  <a:pt x="815327" y="26323"/>
                </a:lnTo>
                <a:lnTo>
                  <a:pt x="770653" y="37622"/>
                </a:lnTo>
                <a:lnTo>
                  <a:pt x="726747" y="50822"/>
                </a:lnTo>
                <a:lnTo>
                  <a:pt x="683658" y="65877"/>
                </a:lnTo>
                <a:lnTo>
                  <a:pt x="641431" y="82738"/>
                </a:lnTo>
                <a:lnTo>
                  <a:pt x="600115" y="101359"/>
                </a:lnTo>
                <a:lnTo>
                  <a:pt x="559756" y="121693"/>
                </a:lnTo>
                <a:lnTo>
                  <a:pt x="520402" y="143692"/>
                </a:lnTo>
                <a:lnTo>
                  <a:pt x="482100" y="167310"/>
                </a:lnTo>
                <a:lnTo>
                  <a:pt x="444897" y="192498"/>
                </a:lnTo>
                <a:lnTo>
                  <a:pt x="408839" y="219210"/>
                </a:lnTo>
                <a:lnTo>
                  <a:pt x="373976" y="247399"/>
                </a:lnTo>
                <a:lnTo>
                  <a:pt x="340353" y="277017"/>
                </a:lnTo>
                <a:lnTo>
                  <a:pt x="308017" y="308017"/>
                </a:lnTo>
                <a:lnTo>
                  <a:pt x="277017" y="340353"/>
                </a:lnTo>
                <a:lnTo>
                  <a:pt x="247399" y="373976"/>
                </a:lnTo>
                <a:lnTo>
                  <a:pt x="219210" y="408839"/>
                </a:lnTo>
                <a:lnTo>
                  <a:pt x="192498" y="444897"/>
                </a:lnTo>
                <a:lnTo>
                  <a:pt x="167310" y="482100"/>
                </a:lnTo>
                <a:lnTo>
                  <a:pt x="143692" y="520402"/>
                </a:lnTo>
                <a:lnTo>
                  <a:pt x="121693" y="559756"/>
                </a:lnTo>
                <a:lnTo>
                  <a:pt x="101359" y="600115"/>
                </a:lnTo>
                <a:lnTo>
                  <a:pt x="82738" y="641431"/>
                </a:lnTo>
                <a:lnTo>
                  <a:pt x="65877" y="683658"/>
                </a:lnTo>
                <a:lnTo>
                  <a:pt x="50822" y="726747"/>
                </a:lnTo>
                <a:lnTo>
                  <a:pt x="37622" y="770653"/>
                </a:lnTo>
                <a:lnTo>
                  <a:pt x="26323" y="815327"/>
                </a:lnTo>
                <a:lnTo>
                  <a:pt x="16972" y="860722"/>
                </a:lnTo>
                <a:lnTo>
                  <a:pt x="9617" y="906792"/>
                </a:lnTo>
                <a:lnTo>
                  <a:pt x="4306" y="953489"/>
                </a:lnTo>
                <a:lnTo>
                  <a:pt x="1084" y="1000766"/>
                </a:lnTo>
                <a:lnTo>
                  <a:pt x="0" y="1048575"/>
                </a:lnTo>
                <a:lnTo>
                  <a:pt x="1084" y="1096384"/>
                </a:lnTo>
                <a:lnTo>
                  <a:pt x="4306" y="1143661"/>
                </a:lnTo>
                <a:lnTo>
                  <a:pt x="9617" y="1190358"/>
                </a:lnTo>
                <a:lnTo>
                  <a:pt x="16972" y="1236428"/>
                </a:lnTo>
                <a:lnTo>
                  <a:pt x="26323" y="1281823"/>
                </a:lnTo>
                <a:lnTo>
                  <a:pt x="37622" y="1326497"/>
                </a:lnTo>
                <a:lnTo>
                  <a:pt x="50822" y="1370403"/>
                </a:lnTo>
                <a:lnTo>
                  <a:pt x="65877" y="1413492"/>
                </a:lnTo>
                <a:lnTo>
                  <a:pt x="82738" y="1455719"/>
                </a:lnTo>
                <a:lnTo>
                  <a:pt x="101359" y="1497035"/>
                </a:lnTo>
                <a:lnTo>
                  <a:pt x="121693" y="1537394"/>
                </a:lnTo>
                <a:lnTo>
                  <a:pt x="143692" y="1576748"/>
                </a:lnTo>
                <a:lnTo>
                  <a:pt x="167310" y="1615050"/>
                </a:lnTo>
                <a:lnTo>
                  <a:pt x="192498" y="1652253"/>
                </a:lnTo>
                <a:lnTo>
                  <a:pt x="219210" y="1688311"/>
                </a:lnTo>
                <a:lnTo>
                  <a:pt x="247399" y="1723174"/>
                </a:lnTo>
                <a:lnTo>
                  <a:pt x="277017" y="1756797"/>
                </a:lnTo>
                <a:lnTo>
                  <a:pt x="308017" y="1789133"/>
                </a:lnTo>
                <a:lnTo>
                  <a:pt x="340353" y="1820133"/>
                </a:lnTo>
                <a:lnTo>
                  <a:pt x="373976" y="1849751"/>
                </a:lnTo>
                <a:lnTo>
                  <a:pt x="408839" y="1877940"/>
                </a:lnTo>
                <a:lnTo>
                  <a:pt x="444897" y="1904652"/>
                </a:lnTo>
                <a:lnTo>
                  <a:pt x="482100" y="1929840"/>
                </a:lnTo>
                <a:lnTo>
                  <a:pt x="520402" y="1953458"/>
                </a:lnTo>
                <a:lnTo>
                  <a:pt x="559756" y="1975457"/>
                </a:lnTo>
                <a:lnTo>
                  <a:pt x="600115" y="1995791"/>
                </a:lnTo>
                <a:lnTo>
                  <a:pt x="641431" y="2014412"/>
                </a:lnTo>
                <a:lnTo>
                  <a:pt x="683658" y="2031273"/>
                </a:lnTo>
                <a:lnTo>
                  <a:pt x="726747" y="2046328"/>
                </a:lnTo>
                <a:lnTo>
                  <a:pt x="770653" y="2059528"/>
                </a:lnTo>
                <a:lnTo>
                  <a:pt x="815327" y="2070827"/>
                </a:lnTo>
                <a:lnTo>
                  <a:pt x="860722" y="2080178"/>
                </a:lnTo>
                <a:lnTo>
                  <a:pt x="906792" y="2087533"/>
                </a:lnTo>
                <a:lnTo>
                  <a:pt x="953489" y="2092844"/>
                </a:lnTo>
                <a:lnTo>
                  <a:pt x="1000766" y="2096066"/>
                </a:lnTo>
                <a:lnTo>
                  <a:pt x="1048575" y="2097150"/>
                </a:lnTo>
                <a:lnTo>
                  <a:pt x="8400897" y="2097150"/>
                </a:lnTo>
                <a:lnTo>
                  <a:pt x="8448706" y="2096066"/>
                </a:lnTo>
                <a:lnTo>
                  <a:pt x="8495983" y="2092844"/>
                </a:lnTo>
                <a:lnTo>
                  <a:pt x="8542680" y="2087533"/>
                </a:lnTo>
                <a:lnTo>
                  <a:pt x="8588750" y="2080178"/>
                </a:lnTo>
                <a:lnTo>
                  <a:pt x="8634145" y="2070827"/>
                </a:lnTo>
                <a:lnTo>
                  <a:pt x="8678819" y="2059528"/>
                </a:lnTo>
                <a:lnTo>
                  <a:pt x="8722725" y="2046328"/>
                </a:lnTo>
                <a:lnTo>
                  <a:pt x="8765814" y="2031273"/>
                </a:lnTo>
                <a:lnTo>
                  <a:pt x="8808041" y="2014412"/>
                </a:lnTo>
                <a:lnTo>
                  <a:pt x="8849357" y="1995791"/>
                </a:lnTo>
                <a:lnTo>
                  <a:pt x="8889716" y="1975457"/>
                </a:lnTo>
                <a:lnTo>
                  <a:pt x="8929070" y="1953458"/>
                </a:lnTo>
                <a:lnTo>
                  <a:pt x="8967372" y="1929840"/>
                </a:lnTo>
                <a:lnTo>
                  <a:pt x="9004576" y="1904652"/>
                </a:lnTo>
                <a:lnTo>
                  <a:pt x="9040633" y="1877940"/>
                </a:lnTo>
                <a:lnTo>
                  <a:pt x="9075496" y="1849751"/>
                </a:lnTo>
                <a:lnTo>
                  <a:pt x="9109119" y="1820133"/>
                </a:lnTo>
                <a:lnTo>
                  <a:pt x="9141455" y="1789133"/>
                </a:lnTo>
                <a:lnTo>
                  <a:pt x="9172455" y="1756797"/>
                </a:lnTo>
                <a:lnTo>
                  <a:pt x="9202073" y="1723174"/>
                </a:lnTo>
                <a:lnTo>
                  <a:pt x="9230262" y="1688311"/>
                </a:lnTo>
                <a:lnTo>
                  <a:pt x="9256974" y="1652253"/>
                </a:lnTo>
                <a:lnTo>
                  <a:pt x="9282162" y="1615050"/>
                </a:lnTo>
                <a:lnTo>
                  <a:pt x="9305780" y="1576748"/>
                </a:lnTo>
                <a:lnTo>
                  <a:pt x="9327779" y="1537394"/>
                </a:lnTo>
                <a:lnTo>
                  <a:pt x="9348113" y="1497035"/>
                </a:lnTo>
                <a:lnTo>
                  <a:pt x="9366734" y="1455719"/>
                </a:lnTo>
                <a:lnTo>
                  <a:pt x="9383595" y="1413492"/>
                </a:lnTo>
                <a:lnTo>
                  <a:pt x="9398650" y="1370403"/>
                </a:lnTo>
                <a:lnTo>
                  <a:pt x="9411850" y="1326497"/>
                </a:lnTo>
                <a:lnTo>
                  <a:pt x="9423149" y="1281823"/>
                </a:lnTo>
                <a:lnTo>
                  <a:pt x="9432500" y="1236428"/>
                </a:lnTo>
                <a:lnTo>
                  <a:pt x="9439855" y="1190358"/>
                </a:lnTo>
                <a:lnTo>
                  <a:pt x="9445166" y="1143661"/>
                </a:lnTo>
                <a:lnTo>
                  <a:pt x="9448388" y="1096384"/>
                </a:lnTo>
                <a:lnTo>
                  <a:pt x="9449473" y="1048575"/>
                </a:lnTo>
                <a:lnTo>
                  <a:pt x="9448388" y="1000766"/>
                </a:lnTo>
                <a:lnTo>
                  <a:pt x="9445166" y="953489"/>
                </a:lnTo>
                <a:lnTo>
                  <a:pt x="9439855" y="906792"/>
                </a:lnTo>
                <a:lnTo>
                  <a:pt x="9432500" y="860722"/>
                </a:lnTo>
                <a:lnTo>
                  <a:pt x="9423149" y="815327"/>
                </a:lnTo>
                <a:lnTo>
                  <a:pt x="9411850" y="770653"/>
                </a:lnTo>
                <a:lnTo>
                  <a:pt x="9398650" y="726747"/>
                </a:lnTo>
                <a:lnTo>
                  <a:pt x="9383595" y="683658"/>
                </a:lnTo>
                <a:lnTo>
                  <a:pt x="9366734" y="641431"/>
                </a:lnTo>
                <a:lnTo>
                  <a:pt x="9348113" y="600115"/>
                </a:lnTo>
                <a:lnTo>
                  <a:pt x="9327779" y="559756"/>
                </a:lnTo>
                <a:lnTo>
                  <a:pt x="9305780" y="520402"/>
                </a:lnTo>
                <a:lnTo>
                  <a:pt x="9282162" y="482100"/>
                </a:lnTo>
                <a:lnTo>
                  <a:pt x="9256974" y="444897"/>
                </a:lnTo>
                <a:lnTo>
                  <a:pt x="9230262" y="408839"/>
                </a:lnTo>
                <a:lnTo>
                  <a:pt x="9202073" y="373976"/>
                </a:lnTo>
                <a:lnTo>
                  <a:pt x="9172455" y="340353"/>
                </a:lnTo>
                <a:lnTo>
                  <a:pt x="9141455" y="308017"/>
                </a:lnTo>
                <a:lnTo>
                  <a:pt x="9109119" y="277017"/>
                </a:lnTo>
                <a:lnTo>
                  <a:pt x="9075496" y="247399"/>
                </a:lnTo>
                <a:lnTo>
                  <a:pt x="9040633" y="219210"/>
                </a:lnTo>
                <a:lnTo>
                  <a:pt x="9004576" y="192498"/>
                </a:lnTo>
                <a:lnTo>
                  <a:pt x="8967372" y="167310"/>
                </a:lnTo>
                <a:lnTo>
                  <a:pt x="8929070" y="143692"/>
                </a:lnTo>
                <a:lnTo>
                  <a:pt x="8889716" y="121693"/>
                </a:lnTo>
                <a:lnTo>
                  <a:pt x="8849357" y="101359"/>
                </a:lnTo>
                <a:lnTo>
                  <a:pt x="8808041" y="82738"/>
                </a:lnTo>
                <a:lnTo>
                  <a:pt x="8765814" y="65877"/>
                </a:lnTo>
                <a:lnTo>
                  <a:pt x="8722725" y="50822"/>
                </a:lnTo>
                <a:lnTo>
                  <a:pt x="8678819" y="37622"/>
                </a:lnTo>
                <a:lnTo>
                  <a:pt x="8634145" y="26323"/>
                </a:lnTo>
                <a:lnTo>
                  <a:pt x="8588750" y="16972"/>
                </a:lnTo>
                <a:lnTo>
                  <a:pt x="8542680" y="9617"/>
                </a:lnTo>
                <a:lnTo>
                  <a:pt x="8495983" y="4306"/>
                </a:lnTo>
                <a:lnTo>
                  <a:pt x="8448706" y="1084"/>
                </a:lnTo>
                <a:lnTo>
                  <a:pt x="8400897" y="0"/>
                </a:lnTo>
                <a:close/>
              </a:path>
            </a:pathLst>
          </a:custGeom>
          <a:solidFill>
            <a:srgbClr val="8C50FF"/>
          </a:solidFill>
        </p:spPr>
        <p:txBody>
          <a:bodyPr wrap="square" lIns="0" tIns="0" rIns="0" bIns="0" rtlCol="0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sz="2691"/>
          </a:p>
        </p:txBody>
      </p:sp>
      <p:sp>
        <p:nvSpPr>
          <p:cNvPr id="4" name="TextBox 3"/>
          <p:cNvSpPr txBox="1"/>
          <p:nvPr/>
        </p:nvSpPr>
        <p:spPr>
          <a:xfrm>
            <a:off x="5077455" y="4455643"/>
            <a:ext cx="10069616" cy="212365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06713" algn="ctr">
              <a:spcBef>
                <a:spcPts val="3589"/>
              </a:spcBef>
            </a:pPr>
            <a:r>
              <a:rPr lang="ru-RU" sz="6600" kern="0" spc="7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Закупки малого объема </a:t>
            </a:r>
            <a:br>
              <a:rPr lang="ru-RU" sz="6600" kern="0" spc="7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6600" kern="0" spc="7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за 4 простых шага</a:t>
            </a:r>
            <a:endParaRPr lang="ru-RU" sz="2000" kern="0" spc="7" dirty="0" smtClean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4806" y="731485"/>
            <a:ext cx="6043396" cy="13946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39864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E8C8DBC-3723-48AA-B811-DEC3314CE506}"/>
              </a:ext>
            </a:extLst>
          </p:cNvPr>
          <p:cNvSpPr/>
          <p:nvPr/>
        </p:nvSpPr>
        <p:spPr>
          <a:xfrm>
            <a:off x="254436" y="345932"/>
            <a:ext cx="17104439" cy="73866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ru-RU" sz="4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   </a:t>
            </a:r>
            <a:r>
              <a:rPr lang="en-US" sz="4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1. </a:t>
            </a:r>
            <a:r>
              <a:rPr lang="ru-RU" sz="4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Авторизуйтесь на </a:t>
            </a:r>
            <a:r>
              <a:rPr lang="ru-RU" sz="4800" dirty="0">
                <a:solidFill>
                  <a:schemeClr val="accent1"/>
                </a:solidFill>
                <a:latin typeface="+mj-lt"/>
              </a:rPr>
              <a:t>Цифровой платформе МСП.РФ</a:t>
            </a:r>
            <a:endParaRPr lang="en-ID" sz="48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01F1864-AA85-425E-BAFE-CDDC0996A2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434085" y="10555050"/>
            <a:ext cx="4523423" cy="602076"/>
          </a:xfrm>
        </p:spPr>
        <p:txBody>
          <a:bodyPr/>
          <a:lstStyle/>
          <a:p>
            <a:fld id="{5A7F5CE0-0DDA-48CC-8D4E-3DC3A566ADF3}" type="slidenum">
              <a:rPr lang="en-ID" smtClean="0"/>
              <a:pPr/>
              <a:t>2</a:t>
            </a:fld>
            <a:endParaRPr lang="en-ID" dirty="0"/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9346"/>
          <a:stretch/>
        </p:blipFill>
        <p:spPr>
          <a:xfrm>
            <a:off x="17358875" y="153437"/>
            <a:ext cx="2745226" cy="1250655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50387" y="1719247"/>
            <a:ext cx="18075981" cy="9147069"/>
          </a:xfrm>
          <a:prstGeom prst="rect">
            <a:avLst/>
          </a:prstGeom>
        </p:spPr>
      </p:pic>
      <p:sp>
        <p:nvSpPr>
          <p:cNvPr id="8" name="Скругленный прямоугольник 7"/>
          <p:cNvSpPr/>
          <p:nvPr/>
        </p:nvSpPr>
        <p:spPr>
          <a:xfrm>
            <a:off x="478303" y="5078439"/>
            <a:ext cx="11310424" cy="2560320"/>
          </a:xfrm>
          <a:prstGeom prst="roundRect">
            <a:avLst/>
          </a:prstGeom>
          <a:noFill/>
          <a:ln w="28575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205257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6020" y="1277091"/>
            <a:ext cx="18035883" cy="9578998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01F1864-AA85-425E-BAFE-CDDC0996A2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434085" y="10555050"/>
            <a:ext cx="4523423" cy="602076"/>
          </a:xfrm>
        </p:spPr>
        <p:txBody>
          <a:bodyPr/>
          <a:lstStyle/>
          <a:p>
            <a:fld id="{5A7F5CE0-0DDA-48CC-8D4E-3DC3A566ADF3}" type="slidenum">
              <a:rPr lang="en-ID" smtClean="0"/>
              <a:pPr/>
              <a:t>3</a:t>
            </a:fld>
            <a:endParaRPr lang="en-ID" dirty="0"/>
          </a:p>
        </p:txBody>
      </p:sp>
      <p:sp>
        <p:nvSpPr>
          <p:cNvPr id="18" name="Rectangle 1">
            <a:extLst>
              <a:ext uri="{FF2B5EF4-FFF2-40B4-BE49-F238E27FC236}">
                <a16:creationId xmlns:a16="http://schemas.microsoft.com/office/drawing/2014/main" id="{CE8C8DBC-3723-48AA-B811-DEC3314CE506}"/>
              </a:ext>
            </a:extLst>
          </p:cNvPr>
          <p:cNvSpPr/>
          <p:nvPr/>
        </p:nvSpPr>
        <p:spPr>
          <a:xfrm>
            <a:off x="224558" y="334506"/>
            <a:ext cx="17557003" cy="67710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ru-RU" sz="4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   </a:t>
            </a:r>
            <a:r>
              <a:rPr lang="ru-RU" sz="44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2</a:t>
            </a:r>
            <a:r>
              <a:rPr lang="en-US" sz="4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. </a:t>
            </a:r>
            <a:r>
              <a:rPr lang="ru-RU" sz="4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Выберите сервис </a:t>
            </a:r>
            <a:r>
              <a:rPr lang="ru-RU" sz="4400" dirty="0">
                <a:solidFill>
                  <a:schemeClr val="accent1"/>
                </a:solidFill>
                <a:latin typeface="+mj-lt"/>
              </a:rPr>
              <a:t>«Витрина закупок малого объема»</a:t>
            </a:r>
            <a:endParaRPr lang="en-ID" sz="4400" dirty="0">
              <a:solidFill>
                <a:schemeClr val="accent1"/>
              </a:solidFill>
              <a:latin typeface="+mj-lt"/>
            </a:endParaRPr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9346"/>
          <a:stretch/>
        </p:blipFill>
        <p:spPr>
          <a:xfrm>
            <a:off x="17358875" y="153437"/>
            <a:ext cx="2745226" cy="1250655"/>
          </a:xfrm>
          <a:prstGeom prst="rect">
            <a:avLst/>
          </a:prstGeom>
        </p:spPr>
      </p:pic>
      <p:sp>
        <p:nvSpPr>
          <p:cNvPr id="21" name="Скругленный прямоугольник 20"/>
          <p:cNvSpPr/>
          <p:nvPr/>
        </p:nvSpPr>
        <p:spPr>
          <a:xfrm>
            <a:off x="1280162" y="9445092"/>
            <a:ext cx="3826411" cy="1039617"/>
          </a:xfrm>
          <a:prstGeom prst="roundRect">
            <a:avLst/>
          </a:prstGeom>
          <a:noFill/>
          <a:ln w="28575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273550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01F1864-AA85-425E-BAFE-CDDC0996A2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434085" y="10555050"/>
            <a:ext cx="4523423" cy="602076"/>
          </a:xfrm>
        </p:spPr>
        <p:txBody>
          <a:bodyPr/>
          <a:lstStyle/>
          <a:p>
            <a:fld id="{5A7F5CE0-0DDA-48CC-8D4E-3DC3A566ADF3}" type="slidenum">
              <a:rPr lang="en-ID" smtClean="0"/>
              <a:pPr/>
              <a:t>4</a:t>
            </a:fld>
            <a:endParaRPr lang="en-ID" dirty="0"/>
          </a:p>
        </p:txBody>
      </p:sp>
      <p:sp>
        <p:nvSpPr>
          <p:cNvPr id="18" name="Rectangle 1">
            <a:extLst>
              <a:ext uri="{FF2B5EF4-FFF2-40B4-BE49-F238E27FC236}">
                <a16:creationId xmlns:a16="http://schemas.microsoft.com/office/drawing/2014/main" id="{CE8C8DBC-3723-48AA-B811-DEC3314CE506}"/>
              </a:ext>
            </a:extLst>
          </p:cNvPr>
          <p:cNvSpPr/>
          <p:nvPr/>
        </p:nvSpPr>
        <p:spPr>
          <a:xfrm>
            <a:off x="27608" y="334506"/>
            <a:ext cx="17557003" cy="67710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ru-RU" sz="4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   3</a:t>
            </a:r>
            <a:r>
              <a:rPr lang="en-US" sz="4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. </a:t>
            </a:r>
            <a:r>
              <a:rPr lang="ru-RU" sz="4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Перейдите к закупкам и </a:t>
            </a:r>
            <a:r>
              <a:rPr lang="ru-RU" sz="4400" dirty="0">
                <a:solidFill>
                  <a:schemeClr val="accent1"/>
                </a:solidFill>
                <a:latin typeface="+mj-lt"/>
              </a:rPr>
              <a:t>выберите параметры поиска</a:t>
            </a:r>
            <a:endParaRPr lang="en-ID" sz="4400" dirty="0">
              <a:solidFill>
                <a:schemeClr val="accent1"/>
              </a:solidFill>
              <a:latin typeface="+mj-lt"/>
            </a:endParaRPr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9346"/>
          <a:stretch/>
        </p:blipFill>
        <p:spPr>
          <a:xfrm>
            <a:off x="17358875" y="153437"/>
            <a:ext cx="2745226" cy="1250655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4"/>
          <a:srcRect b="11249"/>
          <a:stretch/>
        </p:blipFill>
        <p:spPr>
          <a:xfrm>
            <a:off x="886264" y="1192683"/>
            <a:ext cx="16603935" cy="9663405"/>
          </a:xfrm>
          <a:prstGeom prst="rect">
            <a:avLst/>
          </a:prstGeom>
        </p:spPr>
      </p:pic>
      <p:sp>
        <p:nvSpPr>
          <p:cNvPr id="7" name="Скругленный прямоугольник 6"/>
          <p:cNvSpPr/>
          <p:nvPr/>
        </p:nvSpPr>
        <p:spPr>
          <a:xfrm>
            <a:off x="1280162" y="4375052"/>
            <a:ext cx="3826411" cy="6662105"/>
          </a:xfrm>
          <a:prstGeom prst="roundRect">
            <a:avLst/>
          </a:prstGeom>
          <a:noFill/>
          <a:ln w="28575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5500471" y="5584874"/>
            <a:ext cx="11662113" cy="1280160"/>
          </a:xfrm>
          <a:prstGeom prst="roundRect">
            <a:avLst/>
          </a:prstGeom>
          <a:noFill/>
          <a:ln w="28575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188673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01F1864-AA85-425E-BAFE-CDDC0996A2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434085" y="10555050"/>
            <a:ext cx="4523423" cy="602076"/>
          </a:xfrm>
        </p:spPr>
        <p:txBody>
          <a:bodyPr/>
          <a:lstStyle/>
          <a:p>
            <a:fld id="{5A7F5CE0-0DDA-48CC-8D4E-3DC3A566ADF3}" type="slidenum">
              <a:rPr lang="en-ID" smtClean="0"/>
              <a:pPr/>
              <a:t>5</a:t>
            </a:fld>
            <a:endParaRPr lang="en-ID" dirty="0"/>
          </a:p>
        </p:txBody>
      </p:sp>
      <p:sp>
        <p:nvSpPr>
          <p:cNvPr id="18" name="Rectangle 1">
            <a:extLst>
              <a:ext uri="{FF2B5EF4-FFF2-40B4-BE49-F238E27FC236}">
                <a16:creationId xmlns:a16="http://schemas.microsoft.com/office/drawing/2014/main" id="{CE8C8DBC-3723-48AA-B811-DEC3314CE506}"/>
              </a:ext>
            </a:extLst>
          </p:cNvPr>
          <p:cNvSpPr/>
          <p:nvPr/>
        </p:nvSpPr>
        <p:spPr>
          <a:xfrm>
            <a:off x="27608" y="334506"/>
            <a:ext cx="17557003" cy="67710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ru-RU" sz="4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   4</a:t>
            </a:r>
            <a:r>
              <a:rPr lang="en-US" sz="4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. </a:t>
            </a:r>
            <a:r>
              <a:rPr lang="ru-RU" sz="4400" dirty="0">
                <a:solidFill>
                  <a:schemeClr val="accent1"/>
                </a:solidFill>
                <a:latin typeface="+mj-lt"/>
              </a:rPr>
              <a:t>Откройте карточку закупки </a:t>
            </a:r>
            <a:r>
              <a:rPr lang="ru-RU" sz="4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для подачи заявки на ЭТП</a:t>
            </a:r>
            <a:endParaRPr lang="en-ID" sz="4400" dirty="0">
              <a:solidFill>
                <a:schemeClr val="accent1"/>
              </a:solidFill>
              <a:latin typeface="+mj-lt"/>
            </a:endParaRPr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9346"/>
          <a:stretch/>
        </p:blipFill>
        <p:spPr>
          <a:xfrm>
            <a:off x="17358875" y="153437"/>
            <a:ext cx="2745226" cy="1250655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4"/>
          <a:srcRect b="11249"/>
          <a:stretch/>
        </p:blipFill>
        <p:spPr>
          <a:xfrm>
            <a:off x="980676" y="1147869"/>
            <a:ext cx="16603935" cy="9663405"/>
          </a:xfrm>
          <a:prstGeom prst="rect">
            <a:avLst/>
          </a:prstGeom>
        </p:spPr>
      </p:pic>
      <p:sp>
        <p:nvSpPr>
          <p:cNvPr id="8" name="Скругленный прямоугольник 7"/>
          <p:cNvSpPr/>
          <p:nvPr/>
        </p:nvSpPr>
        <p:spPr>
          <a:xfrm>
            <a:off x="13856678" y="9718108"/>
            <a:ext cx="3727934" cy="1280160"/>
          </a:xfrm>
          <a:prstGeom prst="roundRect">
            <a:avLst/>
          </a:prstGeom>
          <a:noFill/>
          <a:ln w="28575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659328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Main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6EF0"/>
      </a:accent1>
      <a:accent2>
        <a:srgbClr val="FF6464"/>
      </a:accent2>
      <a:accent3>
        <a:srgbClr val="E6D7C8"/>
      </a:accent3>
      <a:accent4>
        <a:srgbClr val="191919"/>
      </a:accent4>
      <a:accent5>
        <a:srgbClr val="50CDFF"/>
      </a:accent5>
      <a:accent6>
        <a:srgbClr val="7DCDA0"/>
      </a:accent6>
      <a:hlink>
        <a:srgbClr val="FFB464"/>
      </a:hlink>
      <a:folHlink>
        <a:srgbClr val="FFFFFF"/>
      </a:folHlink>
    </a:clrScheme>
    <a:fontScheme name="Main">
      <a:majorFont>
        <a:latin typeface="Segoe UI Black"/>
        <a:ea typeface=""/>
        <a:cs typeface=""/>
      </a:majorFont>
      <a:minorFont>
        <a:latin typeface="Segoe UI"/>
        <a:ea typeface=""/>
        <a:cs typeface="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589</TotalTime>
  <Words>56</Words>
  <Application>Microsoft Office PowerPoint</Application>
  <PresentationFormat>Произвольный</PresentationFormat>
  <Paragraphs>13</Paragraphs>
  <Slides>5</Slides>
  <Notes>4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5</vt:i4>
      </vt:variant>
    </vt:vector>
  </HeadingPairs>
  <TitlesOfParts>
    <vt:vector size="11" baseType="lpstr">
      <vt:lpstr>Arial</vt:lpstr>
      <vt:lpstr>Calibri</vt:lpstr>
      <vt:lpstr>Segoe UI</vt:lpstr>
      <vt:lpstr>Segoe UI Black</vt:lpstr>
      <vt:lpstr>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Гачегов Михаил Александрович</dc:creator>
  <cp:lastModifiedBy>Абрамовский Сергей Анатольевич</cp:lastModifiedBy>
  <cp:revision>55</cp:revision>
  <dcterms:created xsi:type="dcterms:W3CDTF">2021-11-19T11:56:11Z</dcterms:created>
  <dcterms:modified xsi:type="dcterms:W3CDTF">2022-05-19T03:34:03Z</dcterms:modified>
</cp:coreProperties>
</file>